
<file path=[Content_Types].xml><?xml version="1.0" encoding="utf-8"?>
<Types xmlns="http://schemas.openxmlformats.org/package/2006/content-types">
  <Default ContentType="application/xml" Extension="xml"/>
  <Default ContentType="image/png" Extension="png"/>
  <Default ContentType="image/jpeg" Extension="jpeg"/>
  <Default ContentType="application/vnd.openxmlformats-package.relationships+xml" Extension="rels"/>
  <Override ContentType="application/vnd.openxmlformats-officedocument.presentationml.slideMaster+xml" PartName="/ppt/slideMasters/slideMaster1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+xml" PartName="/ppt/slides/slide4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tags+xml" PartName="/ppt/tags/tag1.xml"/>
  <Override ContentType="application/vnd.openxmlformats-officedocument.presentationml.viewProps+xml" PartName="/ppt/viewProps1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autoCompressPictures="0" strictFirstAndLastChars="0" saveSubsetFonts="1">
  <p:sldMasterIdLst>
    <p:sldMasterId id="2147483648" r:id="rId4"/>
  </p:sldMasterIdLst>
  <p:notesMasterIdLst>
    <p:notesMasterId r:id="rId5"/>
  </p:notesMasterIdLst>
  <p:sldIdLst>
    <p:sldId id="256" r:id="rId6"/>
    <p:sldId id="257" r:id="rId7"/>
    <p:sldId id="258" r:id="rId8"/>
    <p:sldId id="259" r:id="rId9"/>
  </p:sldIdLst>
  <p:sldSz cy="6858000" cx="12192000"/>
  <p:notesSz cx="6858000" cy="9144000"/>
  <p:defaultTextStyle>
    <a:defPPr lvl="0">
      <a:defRPr lang="uk-UA"/>
    </a:defPPr>
    <a:lvl1pPr defTabSz="914400" eaLnBrk="1" hangingPunct="1" latinLnBrk="0" lvl="0" marL="0" rtl="0" algn="l">
      <a:defRPr kern="1200" sz="1800">
        <a:solidFill>
          <a:schemeClr val="tx1"/>
        </a:solidFill>
        <a:latin typeface="+mn-lt"/>
        <a:ea typeface="+mn-ea"/>
        <a:cs typeface="+mn-cs"/>
      </a:defRPr>
    </a:lvl1pPr>
    <a:lvl2pPr defTabSz="914400" eaLnBrk="1" hangingPunct="1" latinLnBrk="0" lvl="1" marL="457200" rtl="0" algn="l">
      <a:defRPr kern="1200" sz="1800">
        <a:solidFill>
          <a:schemeClr val="tx1"/>
        </a:solidFill>
        <a:latin typeface="+mn-lt"/>
        <a:ea typeface="+mn-ea"/>
        <a:cs typeface="+mn-cs"/>
      </a:defRPr>
    </a:lvl2pPr>
    <a:lvl3pPr defTabSz="914400" eaLnBrk="1" hangingPunct="1" latinLnBrk="0" lvl="2" marL="914400" rtl="0" algn="l">
      <a:defRPr kern="1200" sz="1800">
        <a:solidFill>
          <a:schemeClr val="tx1"/>
        </a:solidFill>
        <a:latin typeface="+mn-lt"/>
        <a:ea typeface="+mn-ea"/>
        <a:cs typeface="+mn-cs"/>
      </a:defRPr>
    </a:lvl3pPr>
    <a:lvl4pPr defTabSz="914400" eaLnBrk="1" hangingPunct="1" latinLnBrk="0" lvl="3" marL="1371600" rtl="0" algn="l">
      <a:defRPr kern="1200" sz="1800">
        <a:solidFill>
          <a:schemeClr val="tx1"/>
        </a:solidFill>
        <a:latin typeface="+mn-lt"/>
        <a:ea typeface="+mn-ea"/>
        <a:cs typeface="+mn-cs"/>
      </a:defRPr>
    </a:lvl4pPr>
    <a:lvl5pPr defTabSz="914400" eaLnBrk="1" hangingPunct="1" latinLnBrk="0" lvl="4" marL="1828800" rtl="0" algn="l">
      <a:defRPr kern="1200" sz="1800">
        <a:solidFill>
          <a:schemeClr val="tx1"/>
        </a:solidFill>
        <a:latin typeface="+mn-lt"/>
        <a:ea typeface="+mn-ea"/>
        <a:cs typeface="+mn-cs"/>
      </a:defRPr>
    </a:lvl5pPr>
    <a:lvl6pPr defTabSz="914400" eaLnBrk="1" hangingPunct="1" latinLnBrk="0" lvl="5" marL="2286000" rtl="0" algn="l">
      <a:defRPr kern="1200" sz="1800">
        <a:solidFill>
          <a:schemeClr val="tx1"/>
        </a:solidFill>
        <a:latin typeface="+mn-lt"/>
        <a:ea typeface="+mn-ea"/>
        <a:cs typeface="+mn-cs"/>
      </a:defRPr>
    </a:lvl6pPr>
    <a:lvl7pPr defTabSz="914400" eaLnBrk="1" hangingPunct="1" latinLnBrk="0" lvl="6" marL="2743200" rtl="0" algn="l">
      <a:defRPr kern="1200" sz="1800">
        <a:solidFill>
          <a:schemeClr val="tx1"/>
        </a:solidFill>
        <a:latin typeface="+mn-lt"/>
        <a:ea typeface="+mn-ea"/>
        <a:cs typeface="+mn-cs"/>
      </a:defRPr>
    </a:lvl7pPr>
    <a:lvl8pPr defTabSz="914400" eaLnBrk="1" hangingPunct="1" latinLnBrk="0" lvl="7" marL="3200400" rtl="0" algn="l">
      <a:defRPr kern="1200" sz="1800">
        <a:solidFill>
          <a:schemeClr val="tx1"/>
        </a:solidFill>
        <a:latin typeface="+mn-lt"/>
        <a:ea typeface="+mn-ea"/>
        <a:cs typeface="+mn-cs"/>
      </a:defRPr>
    </a:lvl8pPr>
    <a:lvl9pPr defTabSz="914400" eaLnBrk="1" hangingPunct="1" latinLnBrk="0" lvl="8" marL="3657600" rtl="0" algn="l">
      <a:defRPr kern="1200"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1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/>
</file>

<file path=ppt/viewProps1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2160" orient="horz"/>
        <p:guide pos="3840"/>
      </p:guideLst>
    </p:cSldViewPr>
  </p:slideViewPr>
</p:viewPr>
</file>

<file path=ppt/_rels/presentation.xml.rels><?xml version="1.0" encoding="UTF-8" standalone="yes"?>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viewProps" Target="viewProps1.xml"/><Relationship Id="rId3" Type="http://schemas.openxmlformats.org/officeDocument/2006/relationships/presProps" Target="presProps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5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7E3AD3-20B3-4DC6-B8B8-B6C2D89EEE67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44B777-E8C4-4EAE-89BA-022F86E7F2F1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51331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25486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84242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68438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’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04504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290521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33430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32291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57255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11903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21613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53041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917571-9968-4986-BFDF-C03743531B1E}" type="datetimeFigureOut">
              <a:rPr lang="uk-UA" smtClean="0"/>
              <a:pPr/>
              <a:t>01.10.2021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68793-EA09-423F-BB15-B5DC8B9E9775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35709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205" y="515683"/>
            <a:ext cx="4120515" cy="842453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0" y="4056217"/>
            <a:ext cx="12192000" cy="1795836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2109216" y="6137694"/>
            <a:ext cx="7973568" cy="516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b="1" dirty="0" smtClean="0"/>
              <a:t>Заступник Міністра </a:t>
            </a:r>
            <a:r>
              <a:rPr lang="uk-UA" b="1" dirty="0"/>
              <a:t>розвитку громад та територій України </a:t>
            </a:r>
          </a:p>
          <a:p>
            <a:pPr algn="ctr">
              <a:lnSpc>
                <a:spcPct val="75000"/>
              </a:lnSpc>
            </a:pPr>
            <a:r>
              <a:rPr lang="uk-UA" b="1" dirty="0" smtClean="0"/>
              <a:t>Наталія </a:t>
            </a:r>
            <a:r>
              <a:rPr lang="uk-UA" b="1" dirty="0" err="1" smtClean="0"/>
              <a:t>Хоцянівська</a:t>
            </a:r>
            <a:endParaRPr lang="en-US" b="1" dirty="0"/>
          </a:p>
        </p:txBody>
      </p:sp>
      <p:pic>
        <p:nvPicPr>
          <p:cNvPr id="1026" name="Picture 2" descr="У центрі Житомира виявили 9 витоків газу – у двох будинках перекрили  газопостачання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7968" y="1892476"/>
            <a:ext cx="6376988" cy="254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779776" y="1873819"/>
            <a:ext cx="6400800" cy="2564633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44554" y="4783151"/>
            <a:ext cx="107028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800"/>
              </a:spcAft>
            </a:pPr>
            <a:r>
              <a:rPr lang="uk-UA" sz="4000" b="1" dirty="0">
                <a:solidFill>
                  <a:schemeClr val="bg1"/>
                </a:solidFill>
              </a:rPr>
              <a:t>«Тарифна політика у сфері теплопостачання»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7431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9" y="-294355"/>
            <a:ext cx="12192000" cy="6858000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-1" y="373224"/>
            <a:ext cx="8284309" cy="1411519"/>
          </a:xfrm>
          <a:prstGeom prst="rect">
            <a:avLst/>
          </a:prstGeom>
          <a:solidFill>
            <a:schemeClr val="accent5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95918" y="472144"/>
            <a:ext cx="7918051" cy="133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5000"/>
              </a:lnSpc>
            </a:pPr>
            <a:r>
              <a:rPr lang="uk-UA" sz="3500" b="1" dirty="0">
                <a:solidFill>
                  <a:schemeClr val="bg1"/>
                </a:solidFill>
              </a:rPr>
              <a:t>УМОВИ ДОВГОСТРОКОВОГО КОНТРАКТУ ДЛЯ ПІДПРИЄМСТВ ТКЕ, ОСББ/ЖБК, релігійних організацій</a:t>
            </a:r>
            <a:endParaRPr lang="en-US" sz="3500" b="1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0" y="6600998"/>
            <a:ext cx="12192000" cy="293570"/>
          </a:xfrm>
          <a:prstGeom prst="rect">
            <a:avLst/>
          </a:prstGeom>
          <a:solidFill>
            <a:schemeClr val="accent5">
              <a:lumMod val="7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919" y="550639"/>
            <a:ext cx="3473575" cy="710184"/>
          </a:xfrm>
          <a:prstGeom prst="rect">
            <a:avLst/>
          </a:prstGeom>
        </p:spPr>
      </p:pic>
      <p:sp>
        <p:nvSpPr>
          <p:cNvPr id="17" name="Скругленный прямоугольник 16"/>
          <p:cNvSpPr/>
          <p:nvPr>
            <p:custDataLst>
              <p:tags r:id="rId1"/>
            </p:custDataLst>
          </p:nvPr>
        </p:nvSpPr>
        <p:spPr bwMode="auto">
          <a:xfrm>
            <a:off x="7483992" y="2094541"/>
            <a:ext cx="4943872" cy="381099"/>
          </a:xfrm>
          <a:prstGeom prst="roundRect">
            <a:avLst/>
          </a:prstGeom>
          <a:noFill/>
          <a:ln>
            <a:noFill/>
          </a:ln>
          <a:effectLst>
            <a:outerShdw blurRad="1016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uk-UA" sz="1800" b="1" dirty="0">
              <a:solidFill>
                <a:srgbClr val="FFFF00"/>
              </a:solidFill>
              <a:latin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-174655" y="4467199"/>
            <a:ext cx="2237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400" b="1" dirty="0"/>
              <a:t> </a:t>
            </a:r>
          </a:p>
          <a:p>
            <a:pPr algn="ctr"/>
            <a:endParaRPr lang="uk-UA" sz="14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2540921" y="3866237"/>
            <a:ext cx="21602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 420</a:t>
            </a:r>
          </a:p>
          <a:p>
            <a:pPr algn="ctr"/>
            <a:r>
              <a:rPr lang="uk-UA" sz="1600" b="1" dirty="0">
                <a:solidFill>
                  <a:srgbClr val="FF0000"/>
                </a:solidFill>
              </a:rPr>
              <a:t> </a:t>
            </a:r>
            <a:r>
              <a:rPr lang="uk-UA" sz="1200" b="1" dirty="0">
                <a:solidFill>
                  <a:srgbClr val="FF0000"/>
                </a:solidFill>
              </a:rPr>
              <a:t>грн./тис. м. </a:t>
            </a:r>
            <a:r>
              <a:rPr lang="uk-UA" sz="1200" b="1" dirty="0" smtClean="0">
                <a:solidFill>
                  <a:srgbClr val="FF0000"/>
                </a:solidFill>
              </a:rPr>
              <a:t>куб</a:t>
            </a:r>
            <a:endParaRPr lang="uk-UA" sz="1200" b="1" dirty="0">
              <a:solidFill>
                <a:srgbClr val="FF0000"/>
              </a:solidFill>
            </a:endParaRPr>
          </a:p>
          <a:p>
            <a:pPr algn="ctr"/>
            <a:endParaRPr lang="uk-UA" sz="1200" b="1" dirty="0" smtClean="0">
              <a:solidFill>
                <a:srgbClr val="FF0000"/>
              </a:solidFill>
            </a:endParaRPr>
          </a:p>
        </p:txBody>
      </p:sp>
      <p:grpSp>
        <p:nvGrpSpPr>
          <p:cNvPr id="20" name="Групувати 76"/>
          <p:cNvGrpSpPr/>
          <p:nvPr/>
        </p:nvGrpSpPr>
        <p:grpSpPr>
          <a:xfrm rot="5400000">
            <a:off x="4650836" y="-392288"/>
            <a:ext cx="474346" cy="4904634"/>
            <a:chOff x="-250908" y="2339"/>
            <a:chExt cx="906522" cy="4809860"/>
          </a:xfrm>
        </p:grpSpPr>
        <p:sp>
          <p:nvSpPr>
            <p:cNvPr id="21" name="Прямокутник 80"/>
            <p:cNvSpPr/>
            <p:nvPr/>
          </p:nvSpPr>
          <p:spPr>
            <a:xfrm>
              <a:off x="-186152" y="2339"/>
              <a:ext cx="841766" cy="4786458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  <a:effectLst/>
          </p:spPr>
        </p:sp>
        <p:sp>
          <p:nvSpPr>
            <p:cNvPr id="22" name="Прямокутник 81"/>
            <p:cNvSpPr/>
            <p:nvPr/>
          </p:nvSpPr>
          <p:spPr>
            <a:xfrm>
              <a:off x="-250908" y="25741"/>
              <a:ext cx="841766" cy="478645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vert270" wrap="square" lIns="133350" tIns="133350" rIns="133350" bIns="133350" numCol="1" spcCol="1270" anchor="t" anchorCtr="0">
              <a:noAutofit/>
            </a:bodyPr>
            <a:lstStyle/>
            <a:p>
              <a:pPr marL="0" marR="0" lvl="0" indent="0" algn="ctr" defTabSz="15557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uk-UA" b="1" dirty="0">
                  <a:solidFill>
                    <a:sysClr val="window" lastClr="FFFFFF"/>
                  </a:solidFill>
                  <a:latin typeface="Calibri"/>
                </a:rPr>
                <a:t>ОБСЯГ </a:t>
              </a:r>
              <a:r>
                <a:rPr lang="en-US" b="1" dirty="0">
                  <a:solidFill>
                    <a:sysClr val="window" lastClr="FFFFFF"/>
                  </a:solidFill>
                  <a:latin typeface="Calibri"/>
                </a:rPr>
                <a:t>I (</a:t>
              </a:r>
              <a:r>
                <a:rPr lang="uk-UA" b="1" dirty="0">
                  <a:solidFill>
                    <a:sysClr val="window" lastClr="FFFFFF"/>
                  </a:solidFill>
                  <a:latin typeface="Calibri"/>
                </a:rPr>
                <a:t>фіксований</a:t>
              </a:r>
              <a:r>
                <a:rPr lang="uk-UA" sz="1600" b="1" dirty="0">
                  <a:solidFill>
                    <a:sysClr val="window" lastClr="FFFFFF"/>
                  </a:solidFill>
                  <a:latin typeface="Calibri"/>
                </a:rPr>
                <a:t>)</a:t>
              </a:r>
              <a:endParaRPr lang="en-US" sz="1600" b="1" dirty="0">
                <a:solidFill>
                  <a:sysClr val="window" lastClr="FFFFFF"/>
                </a:solidFill>
                <a:latin typeface="Calibri"/>
              </a:endParaRPr>
            </a:p>
            <a:p>
              <a:pPr marL="0" marR="0" lvl="0" indent="0" algn="ctr" defTabSz="15557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cxnSp>
        <p:nvCxnSpPr>
          <p:cNvPr id="23" name="Пряма сполучна лінія 90"/>
          <p:cNvCxnSpPr/>
          <p:nvPr/>
        </p:nvCxnSpPr>
        <p:spPr>
          <a:xfrm flipV="1">
            <a:off x="7340326" y="2861805"/>
            <a:ext cx="0" cy="421718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 сполучна лінія 94"/>
          <p:cNvCxnSpPr/>
          <p:nvPr/>
        </p:nvCxnSpPr>
        <p:spPr>
          <a:xfrm flipV="1">
            <a:off x="11768560" y="3208618"/>
            <a:ext cx="23960" cy="387984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 сполучна лінія 95"/>
          <p:cNvCxnSpPr/>
          <p:nvPr/>
        </p:nvCxnSpPr>
        <p:spPr>
          <a:xfrm flipV="1">
            <a:off x="2285374" y="3190780"/>
            <a:ext cx="13084" cy="388160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трілка вправо 26"/>
          <p:cNvSpPr/>
          <p:nvPr/>
        </p:nvSpPr>
        <p:spPr>
          <a:xfrm>
            <a:off x="1954321" y="4036251"/>
            <a:ext cx="307493" cy="484912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8" name="Прямокутник 98"/>
          <p:cNvSpPr/>
          <p:nvPr/>
        </p:nvSpPr>
        <p:spPr>
          <a:xfrm>
            <a:off x="201224" y="1904199"/>
            <a:ext cx="1584176" cy="43544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 sz="1400" b="1" i="1" dirty="0" smtClean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endParaRPr lang="uk-UA" sz="1400" b="1" i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endParaRPr lang="uk-UA" sz="1400" b="1" i="1" dirty="0" smtClean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endParaRPr lang="uk-UA" sz="1400" b="1" i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r>
              <a:rPr lang="uk-UA" sz="1400" b="1" i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Ціна </a:t>
            </a:r>
            <a:endParaRPr lang="uk-UA" sz="1400" b="1" i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r>
              <a:rPr lang="uk-UA" sz="1400" b="1" i="1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природного  </a:t>
            </a:r>
          </a:p>
          <a:p>
            <a:pPr algn="ctr"/>
            <a:r>
              <a:rPr lang="uk-UA" sz="1400" b="1" i="1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газу</a:t>
            </a:r>
          </a:p>
          <a:p>
            <a:pPr algn="ctr"/>
            <a:endParaRPr lang="uk-UA" sz="1400" b="1" i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endParaRPr lang="uk-UA" sz="1000" i="1" dirty="0" smtClean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r>
              <a:rPr lang="uk-UA" sz="1000" i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(</a:t>
            </a:r>
            <a:r>
              <a:rPr lang="uk-UA" sz="1000" i="1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з ПДВ, без транспортування та інших надбавок)</a:t>
            </a:r>
          </a:p>
          <a:p>
            <a:pPr algn="ctr"/>
            <a:endParaRPr lang="uk-UA" sz="1400" b="1" i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endParaRPr lang="uk-UA" sz="1400" i="1" dirty="0" smtClean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endParaRPr lang="uk-UA" sz="1400" i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endParaRPr lang="uk-UA" sz="1400" i="1" dirty="0" smtClean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 algn="ctr"/>
            <a:r>
              <a:rPr lang="uk-UA" sz="1000" i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(без </a:t>
            </a:r>
            <a:r>
              <a:rPr lang="uk-UA" sz="1000" i="1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ПДВ, без транспортування та інших надбавок)</a:t>
            </a:r>
          </a:p>
          <a:p>
            <a:pPr algn="ctr"/>
            <a:endParaRPr lang="uk-UA" sz="1400" b="1" i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31" name="Стрілка вправо 47"/>
          <p:cNvSpPr/>
          <p:nvPr/>
        </p:nvSpPr>
        <p:spPr>
          <a:xfrm>
            <a:off x="1909522" y="4036251"/>
            <a:ext cx="307493" cy="484912"/>
          </a:xfrm>
          <a:prstGeom prst="rightArrow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2" name="TextBox 31"/>
          <p:cNvSpPr txBox="1"/>
          <p:nvPr/>
        </p:nvSpPr>
        <p:spPr>
          <a:xfrm>
            <a:off x="2320622" y="2779313"/>
            <a:ext cx="4995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u="sng" dirty="0"/>
              <a:t>Ціна фіксована на рік:</a:t>
            </a:r>
          </a:p>
        </p:txBody>
      </p:sp>
      <p:sp>
        <p:nvSpPr>
          <p:cNvPr id="33" name="Округлений прямокутник 22">
            <a:extLst>
              <a:ext uri="{FF2B5EF4-FFF2-40B4-BE49-F238E27FC236}">
                <a16:creationId xmlns="" xmlns:a16="http://schemas.microsoft.com/office/drawing/2014/main" id="{13E87FD2-982A-4F55-8B09-A76E0C2623D5}"/>
              </a:ext>
            </a:extLst>
          </p:cNvPr>
          <p:cNvSpPr/>
          <p:nvPr/>
        </p:nvSpPr>
        <p:spPr>
          <a:xfrm>
            <a:off x="2340222" y="2385571"/>
            <a:ext cx="9500346" cy="30006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sz="1400" b="1" i="1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на червень 2021 р. – травень 2022 р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714763" y="3913545"/>
            <a:ext cx="3766477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500" b="1" u="sng" dirty="0" smtClean="0"/>
              <a:t>Жовтень</a:t>
            </a:r>
            <a:r>
              <a:rPr lang="uk-UA" sz="1500" b="1" u="sng" dirty="0"/>
              <a:t>:</a:t>
            </a:r>
            <a:r>
              <a:rPr lang="uk-UA" sz="1500" b="1" dirty="0"/>
              <a:t>   </a:t>
            </a:r>
            <a:r>
              <a:rPr lang="uk-UA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 </a:t>
            </a:r>
            <a:r>
              <a:rPr lang="uk-UA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69,8</a:t>
            </a:r>
          </a:p>
          <a:p>
            <a:pPr algn="ctr"/>
            <a:r>
              <a:rPr lang="uk-UA" sz="1100" b="1" dirty="0" smtClean="0">
                <a:solidFill>
                  <a:srgbClr val="FF0000"/>
                </a:solidFill>
              </a:rPr>
              <a:t>грн./тис. м. куб</a:t>
            </a:r>
          </a:p>
          <a:p>
            <a:pPr algn="ctr"/>
            <a:endParaRPr lang="uk-UA" sz="1100" b="1" dirty="0">
              <a:solidFill>
                <a:srgbClr val="FF0000"/>
              </a:solidFill>
            </a:endParaRPr>
          </a:p>
          <a:p>
            <a:pPr algn="ctr"/>
            <a:endParaRPr lang="uk-UA" sz="1100" b="1" dirty="0" smtClean="0">
              <a:solidFill>
                <a:srgbClr val="FF0000"/>
              </a:solidFill>
            </a:endParaRPr>
          </a:p>
          <a:p>
            <a:pPr algn="ctr"/>
            <a:endParaRPr lang="uk-UA" sz="1100" b="1" dirty="0">
              <a:solidFill>
                <a:srgbClr val="FF0000"/>
              </a:solidFill>
            </a:endParaRPr>
          </a:p>
          <a:p>
            <a:pPr algn="ctr"/>
            <a:endParaRPr lang="uk-UA" sz="1100" b="1" dirty="0" smtClean="0">
              <a:solidFill>
                <a:srgbClr val="FF0000"/>
              </a:solidFill>
            </a:endParaRPr>
          </a:p>
          <a:p>
            <a:pPr algn="ctr"/>
            <a:r>
              <a:rPr lang="uk-UA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 641,50 </a:t>
            </a:r>
          </a:p>
          <a:p>
            <a:pPr algn="ctr"/>
            <a:r>
              <a:rPr lang="uk-UA" sz="1100" b="1" dirty="0" smtClean="0">
                <a:solidFill>
                  <a:srgbClr val="FF0000"/>
                </a:solidFill>
              </a:rPr>
              <a:t>грн</a:t>
            </a:r>
            <a:r>
              <a:rPr lang="uk-UA" sz="1100" b="1" dirty="0">
                <a:solidFill>
                  <a:srgbClr val="FF0000"/>
                </a:solidFill>
              </a:rPr>
              <a:t>./тис. м. куб</a:t>
            </a:r>
          </a:p>
          <a:p>
            <a:pPr algn="ctr"/>
            <a:endParaRPr lang="uk-UA" sz="1100" b="1" dirty="0" smtClean="0">
              <a:solidFill>
                <a:srgbClr val="FF0000"/>
              </a:solidFill>
            </a:endParaRPr>
          </a:p>
          <a:p>
            <a:pPr algn="ctr"/>
            <a:endParaRPr lang="uk-UA" sz="1100" b="1" dirty="0">
              <a:solidFill>
                <a:srgbClr val="FF0000"/>
              </a:solidFill>
            </a:endParaRPr>
          </a:p>
          <a:p>
            <a:pPr algn="ctr"/>
            <a:endParaRPr lang="uk-UA" sz="1100" b="1" dirty="0">
              <a:solidFill>
                <a:srgbClr val="FF0000"/>
              </a:solidFill>
            </a:endParaRPr>
          </a:p>
          <a:p>
            <a:pPr algn="ctr"/>
            <a:r>
              <a:rPr lang="uk-UA" sz="1100" b="1" dirty="0">
                <a:solidFill>
                  <a:srgbClr val="FF0000"/>
                </a:solidFill>
              </a:rPr>
              <a:t> </a:t>
            </a:r>
          </a:p>
        </p:txBody>
      </p:sp>
      <p:grpSp>
        <p:nvGrpSpPr>
          <p:cNvPr id="42" name="Групувати 83"/>
          <p:cNvGrpSpPr/>
          <p:nvPr/>
        </p:nvGrpSpPr>
        <p:grpSpPr>
          <a:xfrm rot="5400000">
            <a:off x="9865474" y="577315"/>
            <a:ext cx="476613" cy="2894434"/>
            <a:chOff x="-191207" y="-25334"/>
            <a:chExt cx="861198" cy="4814131"/>
          </a:xfrm>
        </p:grpSpPr>
        <p:sp>
          <p:nvSpPr>
            <p:cNvPr id="43" name="Прямокутник 85"/>
            <p:cNvSpPr/>
            <p:nvPr/>
          </p:nvSpPr>
          <p:spPr>
            <a:xfrm>
              <a:off x="-191207" y="2339"/>
              <a:ext cx="841766" cy="4786458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  <a:effectLst/>
          </p:spPr>
        </p:sp>
        <p:sp>
          <p:nvSpPr>
            <p:cNvPr id="44" name="Прямокутник 86"/>
            <p:cNvSpPr/>
            <p:nvPr/>
          </p:nvSpPr>
          <p:spPr>
            <a:xfrm>
              <a:off x="-171775" y="-25334"/>
              <a:ext cx="841766" cy="478645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vert270" wrap="square" lIns="133350" tIns="133350" rIns="133350" bIns="133350" numCol="1" spcCol="1270" anchor="t" anchorCtr="0">
              <a:noAutofit/>
            </a:bodyPr>
            <a:lstStyle/>
            <a:p>
              <a:pPr marL="0" marR="0" lvl="0" indent="0" algn="ctr" defTabSz="15557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uk-UA" b="1" dirty="0">
                  <a:solidFill>
                    <a:sysClr val="window" lastClr="FFFFFF"/>
                  </a:solidFill>
                  <a:latin typeface="Calibri"/>
                </a:rPr>
                <a:t>ОБСЯГ </a:t>
              </a:r>
              <a:r>
                <a:rPr lang="en-US" b="1" dirty="0">
                  <a:solidFill>
                    <a:sysClr val="window" lastClr="FFFFFF"/>
                  </a:solidFill>
                  <a:latin typeface="Calibri"/>
                </a:rPr>
                <a:t>II</a:t>
              </a:r>
            </a:p>
            <a:p>
              <a:pPr marL="0" marR="0" lvl="0" indent="0" algn="ctr" defTabSz="15557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2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6" name="Прямокутник 45">
            <a:extLst>
              <a:ext uri="{FF2B5EF4-FFF2-40B4-BE49-F238E27FC236}">
                <a16:creationId xmlns="" xmlns:a16="http://schemas.microsoft.com/office/drawing/2014/main" id="{624C2CCB-F2B1-4447-98E5-0F26EC60886B}"/>
              </a:ext>
            </a:extLst>
          </p:cNvPr>
          <p:cNvSpPr/>
          <p:nvPr/>
        </p:nvSpPr>
        <p:spPr>
          <a:xfrm>
            <a:off x="11771790" y="6606367"/>
            <a:ext cx="420209" cy="257453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67CCFD8D-D912-47DD-A860-A63C6CAC1CB6}"/>
              </a:ext>
            </a:extLst>
          </p:cNvPr>
          <p:cNvSpPr txBox="1"/>
          <p:nvPr/>
        </p:nvSpPr>
        <p:spPr>
          <a:xfrm>
            <a:off x="11816080" y="6566786"/>
            <a:ext cx="466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459555" y="3345836"/>
            <a:ext cx="22416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аселення</a:t>
            </a:r>
            <a:endParaRPr lang="uk-UA" dirty="0"/>
          </a:p>
        </p:txBody>
      </p:sp>
      <p:sp>
        <p:nvSpPr>
          <p:cNvPr id="49" name="TextBox 48"/>
          <p:cNvSpPr txBox="1"/>
          <p:nvPr/>
        </p:nvSpPr>
        <p:spPr>
          <a:xfrm>
            <a:off x="5007285" y="3345836"/>
            <a:ext cx="2183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бюджетні установи</a:t>
            </a:r>
            <a:endParaRPr lang="uk-UA" dirty="0"/>
          </a:p>
        </p:txBody>
      </p:sp>
      <p:sp>
        <p:nvSpPr>
          <p:cNvPr id="50" name="TextBox 49"/>
          <p:cNvSpPr txBox="1"/>
          <p:nvPr/>
        </p:nvSpPr>
        <p:spPr>
          <a:xfrm>
            <a:off x="5030981" y="3884632"/>
            <a:ext cx="21602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 391,56</a:t>
            </a:r>
            <a:endParaRPr lang="uk-UA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uk-UA" sz="1600" b="1" dirty="0">
                <a:solidFill>
                  <a:srgbClr val="FF0000"/>
                </a:solidFill>
              </a:rPr>
              <a:t> </a:t>
            </a:r>
            <a:r>
              <a:rPr lang="uk-UA" sz="1200" b="1" dirty="0">
                <a:solidFill>
                  <a:srgbClr val="FF0000"/>
                </a:solidFill>
              </a:rPr>
              <a:t>грн./тис. м. куб 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540921" y="5271746"/>
            <a:ext cx="216024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183,33</a:t>
            </a:r>
            <a:endParaRPr lang="uk-UA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uk-UA" sz="1600" b="1" dirty="0">
                <a:solidFill>
                  <a:srgbClr val="FF0000"/>
                </a:solidFill>
              </a:rPr>
              <a:t> </a:t>
            </a:r>
            <a:r>
              <a:rPr lang="uk-UA" sz="1200" b="1" dirty="0">
                <a:solidFill>
                  <a:srgbClr val="FF0000"/>
                </a:solidFill>
              </a:rPr>
              <a:t>грн./тис. м. </a:t>
            </a:r>
            <a:r>
              <a:rPr lang="uk-UA" sz="1200" b="1" dirty="0" smtClean="0">
                <a:solidFill>
                  <a:srgbClr val="FF0000"/>
                </a:solidFill>
              </a:rPr>
              <a:t>куб</a:t>
            </a:r>
            <a:endParaRPr lang="uk-UA" sz="1200" b="1" dirty="0">
              <a:solidFill>
                <a:srgbClr val="FF0000"/>
              </a:solidFill>
            </a:endParaRPr>
          </a:p>
          <a:p>
            <a:pPr algn="ctr"/>
            <a:endParaRPr lang="uk-UA" sz="1200" b="1" dirty="0" smtClean="0">
              <a:solidFill>
                <a:srgbClr val="FF000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980489" y="5247941"/>
            <a:ext cx="21602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 659,63</a:t>
            </a:r>
            <a:endParaRPr lang="uk-UA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uk-UA" sz="1600" b="1" dirty="0">
                <a:solidFill>
                  <a:srgbClr val="FF0000"/>
                </a:solidFill>
              </a:rPr>
              <a:t> </a:t>
            </a:r>
            <a:r>
              <a:rPr lang="uk-UA" sz="1200" b="1" dirty="0">
                <a:solidFill>
                  <a:srgbClr val="FF0000"/>
                </a:solidFill>
              </a:rPr>
              <a:t>грн./тис. м. куб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432022" y="2773481"/>
            <a:ext cx="4995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u="sng" dirty="0"/>
              <a:t>Ціна </a:t>
            </a:r>
            <a:r>
              <a:rPr lang="uk-UA" sz="1600" b="1" u="sng" dirty="0" smtClean="0"/>
              <a:t>щомісячна:</a:t>
            </a:r>
            <a:endParaRPr lang="uk-UA" sz="1600" b="1" u="sng" dirty="0"/>
          </a:p>
        </p:txBody>
      </p:sp>
    </p:spTree>
    <p:extLst>
      <p:ext uri="{BB962C8B-B14F-4D97-AF65-F5344CB8AC3E}">
        <p14:creationId xmlns:p14="http://schemas.microsoft.com/office/powerpoint/2010/main" val="1106650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82879"/>
            <a:ext cx="12192000" cy="685800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96305" y="0"/>
            <a:ext cx="4016879" cy="4503631"/>
          </a:xfrm>
          <a:prstGeom prst="rect">
            <a:avLst/>
          </a:prstGeom>
          <a:solidFill>
            <a:schemeClr val="accent5">
              <a:lumMod val="75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11126" y="4895628"/>
            <a:ext cx="4330996" cy="1321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5000"/>
              </a:lnSpc>
            </a:pPr>
            <a:r>
              <a:rPr lang="uk-UA" sz="3500" b="1" dirty="0">
                <a:solidFill>
                  <a:schemeClr val="accent5">
                    <a:lumMod val="75000"/>
                  </a:schemeClr>
                </a:solidFill>
              </a:rPr>
              <a:t>ОСНОВНІ ПОЛОЖЕННЯ МЕМОРАНДУМУ</a:t>
            </a:r>
            <a:endParaRPr lang="en-US" sz="35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25" y="490484"/>
            <a:ext cx="3782613" cy="683605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0" y="6678656"/>
            <a:ext cx="11644132" cy="179344"/>
          </a:xfrm>
          <a:prstGeom prst="rect">
            <a:avLst/>
          </a:prstGeom>
          <a:solidFill>
            <a:schemeClr val="accent5">
              <a:lumMod val="7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213185" y="1138566"/>
            <a:ext cx="78552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000" indent="-342000"/>
            <a:r>
              <a:rPr lang="ru-RU" dirty="0" smtClean="0"/>
              <a:t>2.  </a:t>
            </a:r>
            <a:r>
              <a:rPr lang="ru-RU" b="1" dirty="0" smtClean="0"/>
              <a:t>Ф</a:t>
            </a:r>
            <a:r>
              <a:rPr lang="uk-UA" b="1" dirty="0" err="1" smtClean="0"/>
              <a:t>іксований</a:t>
            </a:r>
            <a:r>
              <a:rPr lang="uk-UA" b="1" dirty="0" smtClean="0"/>
              <a:t> обсяг природного газу </a:t>
            </a:r>
            <a:r>
              <a:rPr lang="uk-UA" dirty="0" smtClean="0"/>
              <a:t>за трирічним договором з ТОВ «Газопостачальна компанія «Нафтогаз </a:t>
            </a:r>
            <a:r>
              <a:rPr lang="uk-UA" dirty="0" err="1" smtClean="0"/>
              <a:t>Трейдинг</a:t>
            </a:r>
            <a:r>
              <a:rPr lang="uk-UA" dirty="0" smtClean="0"/>
              <a:t>», буде спрямовуватися підприємствами ТКЕ, ОСББ, ЖБК, релігійних організацій </a:t>
            </a:r>
            <a:r>
              <a:rPr lang="uk-UA" b="1" dirty="0" smtClean="0"/>
              <a:t>для надання послуг для категорії споживачів «населення</a:t>
            </a:r>
            <a:r>
              <a:rPr lang="uk-UA" b="1" dirty="0" smtClean="0"/>
              <a:t>» за ціною 7 420 грн/тис.м3., а для бюджетної сфери – 16 392 грн/тис.м3</a:t>
            </a:r>
            <a:endParaRPr lang="ru-RU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4483926" y="3693494"/>
            <a:ext cx="757225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000" indent="-342000"/>
            <a:r>
              <a:rPr lang="ru-RU" dirty="0" smtClean="0"/>
              <a:t>4. </a:t>
            </a:r>
            <a:r>
              <a:rPr lang="ru-RU" b="1" dirty="0" err="1"/>
              <a:t>Передбачення</a:t>
            </a:r>
            <a:r>
              <a:rPr lang="ru-RU" dirty="0"/>
              <a:t> </a:t>
            </a:r>
            <a:r>
              <a:rPr lang="ru-RU" b="1" dirty="0" err="1"/>
              <a:t>субвенції</a:t>
            </a:r>
            <a:r>
              <a:rPr lang="ru-RU" b="1" dirty="0"/>
              <a:t> з державного бюджету на </a:t>
            </a:r>
            <a:r>
              <a:rPr lang="ru-RU" b="1" dirty="0" err="1"/>
              <a:t>допомогу</a:t>
            </a:r>
            <a:r>
              <a:rPr lang="ru-RU" b="1" dirty="0"/>
              <a:t> громадам, </a:t>
            </a:r>
            <a:r>
              <a:rPr lang="ru-RU" dirty="0"/>
              <a:t>у </a:t>
            </a:r>
            <a:r>
              <a:rPr lang="ru-RU" dirty="0" err="1"/>
              <a:t>яких</a:t>
            </a:r>
            <a:r>
              <a:rPr lang="ru-RU" dirty="0"/>
              <a:t> </a:t>
            </a:r>
            <a:r>
              <a:rPr lang="ru-RU" dirty="0" err="1"/>
              <a:t>індекс</a:t>
            </a:r>
            <a:r>
              <a:rPr lang="ru-RU" dirty="0"/>
              <a:t> </a:t>
            </a:r>
            <a:r>
              <a:rPr lang="ru-RU" dirty="0" err="1"/>
              <a:t>податкоспроможності</a:t>
            </a:r>
            <a:r>
              <a:rPr lang="ru-RU" dirty="0"/>
              <a:t> </a:t>
            </a:r>
            <a:r>
              <a:rPr lang="ru-RU" dirty="0" err="1"/>
              <a:t>менше</a:t>
            </a:r>
            <a:r>
              <a:rPr lang="ru-RU" dirty="0"/>
              <a:t> 0,9</a:t>
            </a:r>
          </a:p>
          <a:p>
            <a:pPr marL="342000" indent="-342000"/>
            <a:endParaRPr lang="ru-RU" sz="1500" dirty="0"/>
          </a:p>
          <a:p>
            <a:pPr marL="342000" indent="-342000"/>
            <a:r>
              <a:rPr lang="ru-RU" dirty="0" smtClean="0"/>
              <a:t>5.</a:t>
            </a:r>
            <a:r>
              <a:rPr lang="uk-UA" sz="18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18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Спрямування до МБ територіальних громад </a:t>
            </a:r>
            <a:r>
              <a:rPr lang="uk-UA" sz="18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крім бюджету м. Києва) з метою фінансової підтримки підприємств ТКЕ та сталого проходження ОС 2021/22</a:t>
            </a:r>
            <a:r>
              <a:rPr lang="en-US" sz="18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uk-UA" sz="18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рр.:</a:t>
            </a:r>
          </a:p>
          <a:p>
            <a:pPr marL="342000" indent="-342000"/>
            <a:endParaRPr lang="ru-RU" dirty="0"/>
          </a:p>
        </p:txBody>
      </p:sp>
      <p:pic>
        <p:nvPicPr>
          <p:cNvPr id="5122" name="Picture 2" descr="Сегодня в России вступил в силу новый закон | ГТРК «Курск» - новости Курска  и Курской области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26" y="2129028"/>
            <a:ext cx="3587235" cy="239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268614" y="54934"/>
            <a:ext cx="734717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ru-RU" b="1" dirty="0" err="1"/>
              <a:t>Застосування</a:t>
            </a:r>
            <a:r>
              <a:rPr lang="ru-RU" b="1" dirty="0"/>
              <a:t> до </a:t>
            </a:r>
            <a:r>
              <a:rPr lang="ru-RU" b="1" dirty="0" err="1"/>
              <a:t>населення</a:t>
            </a:r>
            <a:r>
              <a:rPr lang="ru-RU" b="1" dirty="0"/>
              <a:t> </a:t>
            </a:r>
            <a:r>
              <a:rPr lang="ru-RU" dirty="0" err="1"/>
              <a:t>протягом</a:t>
            </a:r>
            <a:r>
              <a:rPr lang="ru-RU" dirty="0"/>
              <a:t> ОС 2021/22 </a:t>
            </a:r>
            <a:r>
              <a:rPr lang="ru-RU" dirty="0" err="1"/>
              <a:t>рр</a:t>
            </a:r>
            <a:r>
              <a:rPr lang="ru-RU" dirty="0"/>
              <a:t>. </a:t>
            </a:r>
            <a:r>
              <a:rPr lang="ru-RU" b="1" dirty="0" err="1"/>
              <a:t>тарифів</a:t>
            </a:r>
            <a:r>
              <a:rPr lang="ru-RU" b="1" dirty="0"/>
              <a:t> на </a:t>
            </a:r>
            <a:r>
              <a:rPr lang="ru-RU" b="1" dirty="0" err="1"/>
              <a:t>послуги</a:t>
            </a:r>
            <a:r>
              <a:rPr lang="ru-RU" dirty="0"/>
              <a:t> з </a:t>
            </a:r>
            <a:r>
              <a:rPr lang="ru-RU" dirty="0" err="1"/>
              <a:t>постачання</a:t>
            </a:r>
            <a:r>
              <a:rPr lang="ru-RU" dirty="0"/>
              <a:t> </a:t>
            </a:r>
            <a:r>
              <a:rPr lang="ru-RU" dirty="0" err="1"/>
              <a:t>теплової</a:t>
            </a:r>
            <a:r>
              <a:rPr lang="ru-RU" dirty="0"/>
              <a:t> </a:t>
            </a:r>
            <a:r>
              <a:rPr lang="ru-RU" dirty="0" err="1"/>
              <a:t>енергії</a:t>
            </a:r>
            <a:r>
              <a:rPr lang="ru-RU" dirty="0"/>
              <a:t> та </a:t>
            </a:r>
            <a:r>
              <a:rPr lang="ru-RU" dirty="0" err="1"/>
              <a:t>постачання</a:t>
            </a:r>
            <a:r>
              <a:rPr lang="ru-RU" dirty="0"/>
              <a:t> </a:t>
            </a:r>
            <a:r>
              <a:rPr lang="ru-RU" dirty="0" err="1"/>
              <a:t>гарячої</a:t>
            </a:r>
            <a:r>
              <a:rPr lang="ru-RU" dirty="0"/>
              <a:t> води, </a:t>
            </a:r>
            <a:r>
              <a:rPr lang="ru-RU" b="1" dirty="0" err="1"/>
              <a:t>розмір</a:t>
            </a:r>
            <a:r>
              <a:rPr lang="ru-RU" b="1" dirty="0"/>
              <a:t> </a:t>
            </a:r>
            <a:r>
              <a:rPr lang="ru-RU" b="1" dirty="0" err="1"/>
              <a:t>яких</a:t>
            </a:r>
            <a:r>
              <a:rPr lang="ru-RU" b="1" dirty="0"/>
              <a:t> не </a:t>
            </a:r>
            <a:r>
              <a:rPr lang="ru-RU" b="1" dirty="0" err="1"/>
              <a:t>перевищуватиме</a:t>
            </a:r>
            <a:r>
              <a:rPr lang="ru-RU" b="1" dirty="0"/>
              <a:t> </a:t>
            </a:r>
            <a:r>
              <a:rPr lang="ru-RU" b="1" dirty="0" err="1"/>
              <a:t>тарифів</a:t>
            </a:r>
            <a:r>
              <a:rPr lang="ru-RU" b="1" dirty="0"/>
              <a:t> на </a:t>
            </a:r>
            <a:r>
              <a:rPr lang="ru-RU" b="1" dirty="0" err="1"/>
              <a:t>кінець</a:t>
            </a:r>
            <a:r>
              <a:rPr lang="ru-RU" b="1" dirty="0"/>
              <a:t> ОС 2020/21 </a:t>
            </a:r>
            <a:r>
              <a:rPr lang="ru-RU" b="1" dirty="0" err="1"/>
              <a:t>рр</a:t>
            </a:r>
            <a:r>
              <a:rPr lang="ru-RU" b="1" dirty="0"/>
              <a:t>.</a:t>
            </a:r>
          </a:p>
        </p:txBody>
      </p:sp>
      <p:sp>
        <p:nvSpPr>
          <p:cNvPr id="16" name="Прямокутник 15">
            <a:extLst>
              <a:ext uri="{FF2B5EF4-FFF2-40B4-BE49-F238E27FC236}">
                <a16:creationId xmlns="" xmlns:a16="http://schemas.microsoft.com/office/drawing/2014/main" id="{F5A5D414-4620-47EF-81C9-37FB3CF53EFE}"/>
              </a:ext>
            </a:extLst>
          </p:cNvPr>
          <p:cNvSpPr/>
          <p:nvPr/>
        </p:nvSpPr>
        <p:spPr>
          <a:xfrm>
            <a:off x="11771790" y="6606367"/>
            <a:ext cx="420209" cy="257453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A3824F1C-B5C2-4720-B3E5-57ADB1EAD93B}"/>
              </a:ext>
            </a:extLst>
          </p:cNvPr>
          <p:cNvSpPr txBox="1"/>
          <p:nvPr/>
        </p:nvSpPr>
        <p:spPr>
          <a:xfrm>
            <a:off x="11816080" y="6566786"/>
            <a:ext cx="466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>
                <a:solidFill>
                  <a:schemeClr val="bg1"/>
                </a:solidFill>
              </a:rPr>
              <a:t>4</a:t>
            </a:r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5C986675-C1C9-4DE6-A448-9C8C2199FA4F}"/>
              </a:ext>
            </a:extLst>
          </p:cNvPr>
          <p:cNvSpPr txBox="1"/>
          <p:nvPr/>
        </p:nvSpPr>
        <p:spPr>
          <a:xfrm>
            <a:off x="6600825" y="5469577"/>
            <a:ext cx="53976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5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uk-UA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4 % ПДФО </a:t>
            </a:r>
            <a:r>
              <a:rPr lang="uk-UA" sz="16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додатково 11 </a:t>
            </a:r>
            <a:r>
              <a:rPr lang="uk-UA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млрд грн);</a:t>
            </a:r>
          </a:p>
          <a:p>
            <a:r>
              <a:rPr lang="uk-UA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- 13,44% акцизного податку з виробленого/ввезеного пального (9,2 млрд грн)</a:t>
            </a:r>
            <a:endParaRPr lang="en-US" sz="16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200959" y="2698919"/>
            <a:ext cx="78552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000" indent="-342000"/>
            <a:r>
              <a:rPr lang="ru-RU" dirty="0"/>
              <a:t>3</a:t>
            </a:r>
            <a:r>
              <a:rPr lang="ru-RU" dirty="0" smtClean="0"/>
              <a:t>. </a:t>
            </a:r>
            <a:r>
              <a:rPr lang="ru-RU" dirty="0" err="1" smtClean="0"/>
              <a:t>Розрахунки</a:t>
            </a:r>
            <a:r>
              <a:rPr lang="ru-RU" dirty="0" smtClean="0"/>
              <a:t> за </a:t>
            </a:r>
            <a:r>
              <a:rPr lang="ru-RU" dirty="0" err="1" smtClean="0"/>
              <a:t>спожитий</a:t>
            </a:r>
            <a:r>
              <a:rPr lang="ru-RU" dirty="0" smtClean="0"/>
              <a:t> </a:t>
            </a:r>
            <a:r>
              <a:rPr lang="ru-RU" dirty="0" err="1" smtClean="0"/>
              <a:t>природний</a:t>
            </a:r>
            <a:r>
              <a:rPr lang="ru-RU" dirty="0" smtClean="0"/>
              <a:t> газ </a:t>
            </a:r>
            <a:r>
              <a:rPr lang="ru-RU" dirty="0" err="1" smtClean="0"/>
              <a:t>підприємства</a:t>
            </a:r>
            <a:r>
              <a:rPr lang="ru-RU" dirty="0" smtClean="0"/>
              <a:t> </a:t>
            </a:r>
            <a:r>
              <a:rPr lang="ru-RU" dirty="0" err="1" smtClean="0"/>
              <a:t>будуть</a:t>
            </a:r>
            <a:r>
              <a:rPr lang="ru-RU" dirty="0" smtClean="0"/>
              <a:t> </a:t>
            </a:r>
            <a:r>
              <a:rPr lang="ru-RU" dirty="0" err="1" smtClean="0"/>
              <a:t>проводити</a:t>
            </a:r>
            <a:r>
              <a:rPr lang="ru-RU" dirty="0" smtClean="0"/>
              <a:t> </a:t>
            </a:r>
            <a:r>
              <a:rPr lang="ru-RU" dirty="0" err="1" smtClean="0"/>
              <a:t>протягом</a:t>
            </a:r>
            <a:r>
              <a:rPr lang="ru-RU" dirty="0" smtClean="0"/>
              <a:t> 45 </a:t>
            </a:r>
            <a:r>
              <a:rPr lang="ru-RU" dirty="0" err="1" smtClean="0"/>
              <a:t>днів</a:t>
            </a:r>
            <a:r>
              <a:rPr lang="ru-RU" dirty="0" smtClean="0"/>
              <a:t> за </a:t>
            </a:r>
            <a:r>
              <a:rPr lang="ru-RU" dirty="0" err="1" smtClean="0"/>
              <a:t>місяцем</a:t>
            </a:r>
            <a:r>
              <a:rPr lang="ru-RU" dirty="0" smtClean="0"/>
              <a:t> </a:t>
            </a:r>
            <a:r>
              <a:rPr lang="ru-RU" dirty="0" err="1" smtClean="0"/>
              <a:t>споживання</a:t>
            </a:r>
            <a:r>
              <a:rPr lang="ru-RU" dirty="0" smtClean="0"/>
              <a:t> 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173427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кутник 34"/>
          <p:cNvSpPr/>
          <p:nvPr/>
        </p:nvSpPr>
        <p:spPr>
          <a:xfrm>
            <a:off x="1624266" y="3095565"/>
            <a:ext cx="882170" cy="2451998"/>
          </a:xfrm>
          <a:prstGeom prst="rect">
            <a:avLst/>
          </a:prstGeom>
          <a:solidFill>
            <a:schemeClr val="accent1"/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1" name="Прямокутник 40"/>
          <p:cNvSpPr/>
          <p:nvPr/>
        </p:nvSpPr>
        <p:spPr>
          <a:xfrm>
            <a:off x="2926349" y="4371811"/>
            <a:ext cx="946800" cy="9353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0" name="Прямокутник 39"/>
          <p:cNvSpPr/>
          <p:nvPr/>
        </p:nvSpPr>
        <p:spPr>
          <a:xfrm>
            <a:off x="9719745" y="5018568"/>
            <a:ext cx="946800" cy="5289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" name="Прямокутник 35">
            <a:extLst>
              <a:ext uri="{FF2B5EF4-FFF2-40B4-BE49-F238E27FC236}">
                <a16:creationId xmlns="" xmlns:a16="http://schemas.microsoft.com/office/drawing/2014/main" id="{F0AE9291-EA89-4FAE-BE46-367CE4E2CB2C}"/>
              </a:ext>
            </a:extLst>
          </p:cNvPr>
          <p:cNvSpPr/>
          <p:nvPr/>
        </p:nvSpPr>
        <p:spPr>
          <a:xfrm>
            <a:off x="8206505" y="5053484"/>
            <a:ext cx="909653" cy="475382"/>
          </a:xfrm>
          <a:prstGeom prst="rect">
            <a:avLst/>
          </a:prstGeom>
          <a:solidFill>
            <a:schemeClr val="accent1"/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0" name="Picture 2" descr="Тариф на капремонт: спорить поздно, но можно разобраться - Новости  Новокузнецка сегодня, новости дня, последние новости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758" b="13613"/>
          <a:stretch/>
        </p:blipFill>
        <p:spPr bwMode="auto">
          <a:xfrm>
            <a:off x="0" y="-13195"/>
            <a:ext cx="12192000" cy="1735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0" y="-90101"/>
            <a:ext cx="12192000" cy="1982695"/>
          </a:xfrm>
          <a:prstGeom prst="rect">
            <a:avLst/>
          </a:prstGeom>
          <a:solidFill>
            <a:schemeClr val="accent5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045838" y="996353"/>
            <a:ext cx="10158984" cy="917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3500" b="1" dirty="0" smtClean="0">
                <a:solidFill>
                  <a:schemeClr val="bg1"/>
                </a:solidFill>
              </a:rPr>
              <a:t>ЦІНА ЗАБЕЗПЕЧЕННЯ НЕЗМІННИХ ТАРИФІВ на послугу теплопостачання для населення</a:t>
            </a:r>
            <a:endParaRPr lang="en-US" sz="3500" b="1" dirty="0">
              <a:solidFill>
                <a:schemeClr val="bg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0" y="6108920"/>
            <a:ext cx="1181608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3000" b="1" dirty="0"/>
              <a:t>ЗАГАЛЬНА СУМА ПІДТРИМКИ підприємств ТКЕ на 2022 рік СКЛАДАЄ</a:t>
            </a:r>
          </a:p>
          <a:p>
            <a:pPr algn="ctr">
              <a:lnSpc>
                <a:spcPct val="75000"/>
              </a:lnSpc>
            </a:pPr>
            <a:r>
              <a:rPr lang="uk-UA" sz="3000" b="1" dirty="0"/>
              <a:t> </a:t>
            </a:r>
            <a:r>
              <a:rPr lang="uk-UA" sz="3000" b="1" dirty="0">
                <a:solidFill>
                  <a:srgbClr val="FF0000"/>
                </a:solidFill>
              </a:rPr>
              <a:t>25 МЛРД ГРН</a:t>
            </a:r>
            <a:endParaRPr lang="en-US" sz="3000" b="1" dirty="0">
              <a:solidFill>
                <a:srgbClr val="FF0000"/>
              </a:solidFill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1016508" y="5989125"/>
            <a:ext cx="99867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1016508" y="218289"/>
            <a:ext cx="5108822" cy="619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3000" dirty="0"/>
              <a:t>ДЕРЖАВНА ПІДТРИМКА</a:t>
            </a:r>
          </a:p>
          <a:p>
            <a:pPr algn="ctr">
              <a:lnSpc>
                <a:spcPct val="75000"/>
              </a:lnSpc>
            </a:pPr>
            <a:r>
              <a:rPr lang="uk-UA" sz="1500" b="1" dirty="0"/>
              <a:t>МЛРД ГРН</a:t>
            </a:r>
            <a:endParaRPr lang="en-US" sz="15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8043357" y="5583918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/>
              <a:t>Факт, 2020р.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9482197" y="5583918"/>
            <a:ext cx="1551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/>
              <a:t>План, 2022р.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6940755" y="2121870"/>
            <a:ext cx="5108822" cy="4535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3000" b="1" dirty="0"/>
              <a:t>ПІДТРИМКА </a:t>
            </a:r>
            <a:r>
              <a:rPr lang="uk-UA" sz="3000" b="1" dirty="0" smtClean="0"/>
              <a:t>ОМС</a:t>
            </a:r>
            <a:r>
              <a:rPr lang="uk-UA" sz="3000" dirty="0" smtClean="0"/>
              <a:t>, </a:t>
            </a:r>
            <a:r>
              <a:rPr lang="uk-UA" sz="1100" b="1" dirty="0" smtClean="0"/>
              <a:t>МЛРД </a:t>
            </a:r>
            <a:r>
              <a:rPr lang="uk-UA" sz="1100" b="1" dirty="0"/>
              <a:t>ГРН</a:t>
            </a:r>
            <a:endParaRPr lang="en-US" sz="11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9677185" y="5075315"/>
            <a:ext cx="1075262" cy="393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2500" b="1" dirty="0" smtClean="0"/>
              <a:t>3,8</a:t>
            </a:r>
            <a:endParaRPr lang="en-US" sz="35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8043357" y="5102571"/>
            <a:ext cx="1178052" cy="393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2500" b="1" dirty="0"/>
              <a:t>3,5</a:t>
            </a:r>
            <a:endParaRPr lang="en-US" sz="2500" b="1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767" y="237335"/>
            <a:ext cx="3782613" cy="683605"/>
          </a:xfrm>
          <a:prstGeom prst="rect">
            <a:avLst/>
          </a:prstGeom>
        </p:spPr>
      </p:pic>
      <p:sp>
        <p:nvSpPr>
          <p:cNvPr id="2" name="Прямокутник 1">
            <a:extLst>
              <a:ext uri="{FF2B5EF4-FFF2-40B4-BE49-F238E27FC236}">
                <a16:creationId xmlns="" xmlns:a16="http://schemas.microsoft.com/office/drawing/2014/main" id="{79BA2E70-03A8-4DED-A27A-D7307BC76641}"/>
              </a:ext>
            </a:extLst>
          </p:cNvPr>
          <p:cNvSpPr/>
          <p:nvPr/>
        </p:nvSpPr>
        <p:spPr>
          <a:xfrm>
            <a:off x="11771790" y="6525087"/>
            <a:ext cx="420209" cy="257453"/>
          </a:xfrm>
          <a:prstGeom prst="rect">
            <a:avLst/>
          </a:prstGeom>
          <a:solidFill>
            <a:schemeClr val="accent5">
              <a:lumMod val="75000"/>
              <a:alpha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3E7B03A1-ADEA-4470-8A5A-173F431CD317}"/>
              </a:ext>
            </a:extLst>
          </p:cNvPr>
          <p:cNvSpPr txBox="1"/>
          <p:nvPr/>
        </p:nvSpPr>
        <p:spPr>
          <a:xfrm>
            <a:off x="11816080" y="6485506"/>
            <a:ext cx="466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>
                <a:solidFill>
                  <a:schemeClr val="bg1"/>
                </a:solidFill>
              </a:rPr>
              <a:t>5</a:t>
            </a:r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446934" y="5619793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План, </a:t>
            </a:r>
            <a:r>
              <a:rPr lang="uk-UA" dirty="0"/>
              <a:t>2021р.</a:t>
            </a:r>
            <a:endParaRPr lang="en-US" dirty="0"/>
          </a:p>
        </p:txBody>
      </p:sp>
      <p:sp>
        <p:nvSpPr>
          <p:cNvPr id="55" name="TextBox 54"/>
          <p:cNvSpPr txBox="1"/>
          <p:nvPr/>
        </p:nvSpPr>
        <p:spPr>
          <a:xfrm>
            <a:off x="2768890" y="5614963"/>
            <a:ext cx="1513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/>
              <a:t>План, 2022р.</a:t>
            </a:r>
            <a:endParaRPr lang="en-US" dirty="0"/>
          </a:p>
        </p:txBody>
      </p:sp>
      <p:sp>
        <p:nvSpPr>
          <p:cNvPr id="56" name="TextBox 55"/>
          <p:cNvSpPr txBox="1"/>
          <p:nvPr/>
        </p:nvSpPr>
        <p:spPr>
          <a:xfrm>
            <a:off x="1487903" y="3207881"/>
            <a:ext cx="1178052" cy="917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endParaRPr lang="uk-UA" sz="3500" b="1" dirty="0" smtClean="0"/>
          </a:p>
          <a:p>
            <a:pPr algn="ctr">
              <a:lnSpc>
                <a:spcPct val="75000"/>
              </a:lnSpc>
            </a:pPr>
            <a:r>
              <a:rPr lang="uk-UA" sz="3500" b="1" dirty="0" smtClean="0"/>
              <a:t>23</a:t>
            </a:r>
            <a:endParaRPr lang="en-US" sz="3500" b="1" dirty="0"/>
          </a:p>
        </p:txBody>
      </p:sp>
      <p:sp>
        <p:nvSpPr>
          <p:cNvPr id="58" name="TextBox 57"/>
          <p:cNvSpPr txBox="1"/>
          <p:nvPr/>
        </p:nvSpPr>
        <p:spPr>
          <a:xfrm>
            <a:off x="9574395" y="3524217"/>
            <a:ext cx="1178052" cy="513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3500" b="1" dirty="0" smtClean="0"/>
              <a:t>13</a:t>
            </a:r>
            <a:endParaRPr lang="en-US" sz="3500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434295" y="2037734"/>
            <a:ext cx="5872715" cy="4535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3000" b="1" dirty="0"/>
              <a:t>ДЕРЖАВНА </a:t>
            </a:r>
            <a:r>
              <a:rPr lang="uk-UA" sz="3000" b="1" dirty="0" smtClean="0"/>
              <a:t>ПІДТРИМКА</a:t>
            </a:r>
            <a:r>
              <a:rPr lang="uk-UA" sz="3000" dirty="0" smtClean="0"/>
              <a:t>, </a:t>
            </a:r>
            <a:r>
              <a:rPr lang="uk-UA" sz="1100" b="1" dirty="0" smtClean="0"/>
              <a:t>МЛРД </a:t>
            </a:r>
            <a:r>
              <a:rPr lang="uk-UA" sz="1100" b="1" dirty="0"/>
              <a:t>ГРН</a:t>
            </a:r>
            <a:endParaRPr lang="en-US" sz="1100" b="1" dirty="0"/>
          </a:p>
        </p:txBody>
      </p:sp>
      <p:sp>
        <p:nvSpPr>
          <p:cNvPr id="69" name="Прямокутник 68"/>
          <p:cNvSpPr/>
          <p:nvPr/>
        </p:nvSpPr>
        <p:spPr>
          <a:xfrm>
            <a:off x="2926328" y="5315915"/>
            <a:ext cx="946821" cy="24024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0" name="TextBox 69"/>
          <p:cNvSpPr txBox="1"/>
          <p:nvPr/>
        </p:nvSpPr>
        <p:spPr>
          <a:xfrm>
            <a:off x="2810723" y="4591774"/>
            <a:ext cx="1178052" cy="393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2500" b="1" dirty="0"/>
              <a:t>11</a:t>
            </a:r>
            <a:endParaRPr lang="en-US" sz="2500" b="1" dirty="0"/>
          </a:p>
        </p:txBody>
      </p:sp>
      <p:sp>
        <p:nvSpPr>
          <p:cNvPr id="72" name="TextBox 71"/>
          <p:cNvSpPr txBox="1"/>
          <p:nvPr/>
        </p:nvSpPr>
        <p:spPr>
          <a:xfrm>
            <a:off x="2817386" y="5282171"/>
            <a:ext cx="1178052" cy="393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2500" b="1" dirty="0"/>
              <a:t>1</a:t>
            </a:r>
            <a:endParaRPr lang="en-US" sz="2500" b="1" dirty="0"/>
          </a:p>
        </p:txBody>
      </p:sp>
      <p:sp>
        <p:nvSpPr>
          <p:cNvPr id="73" name="TextBox 72"/>
          <p:cNvSpPr txBox="1"/>
          <p:nvPr/>
        </p:nvSpPr>
        <p:spPr>
          <a:xfrm>
            <a:off x="4219505" y="3807086"/>
            <a:ext cx="1819605" cy="38087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1400" b="1" dirty="0">
                <a:effectLst/>
                <a:latin typeface="Antiqua"/>
                <a:ea typeface="Times New Roman" panose="02020603050405020304" pitchFamily="18" charset="0"/>
                <a:cs typeface="Times New Roman" panose="02020603050405020304" pitchFamily="18" charset="0"/>
              </a:rPr>
              <a:t>4 % </a:t>
            </a:r>
            <a:r>
              <a:rPr lang="uk-UA" sz="1400" b="1" dirty="0" smtClean="0">
                <a:effectLst/>
                <a:latin typeface="Antiqua"/>
                <a:ea typeface="Times New Roman" panose="02020603050405020304" pitchFamily="18" charset="0"/>
                <a:cs typeface="Times New Roman" panose="02020603050405020304" pitchFamily="18" charset="0"/>
              </a:rPr>
              <a:t>ПДФО</a:t>
            </a:r>
          </a:p>
          <a:p>
            <a:pPr algn="ctr">
              <a:lnSpc>
                <a:spcPct val="75000"/>
              </a:lnSpc>
            </a:pPr>
            <a:r>
              <a:rPr lang="uk-UA" sz="1100" b="1" dirty="0" smtClean="0">
                <a:latin typeface="Antiqua"/>
                <a:cs typeface="Times New Roman" panose="02020603050405020304" pitchFamily="18" charset="0"/>
              </a:rPr>
              <a:t>додатково</a:t>
            </a:r>
            <a:endParaRPr lang="en-US" sz="1100" b="1" dirty="0"/>
          </a:p>
        </p:txBody>
      </p:sp>
      <p:sp>
        <p:nvSpPr>
          <p:cNvPr id="74" name="TextBox 73"/>
          <p:cNvSpPr txBox="1"/>
          <p:nvPr/>
        </p:nvSpPr>
        <p:spPr>
          <a:xfrm>
            <a:off x="10700108" y="4038012"/>
            <a:ext cx="124723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1200" b="1" dirty="0" smtClean="0">
                <a:effectLst/>
                <a:latin typeface="Antiqua"/>
                <a:ea typeface="Times New Roman" panose="02020603050405020304" pitchFamily="18" charset="0"/>
                <a:cs typeface="Times New Roman" panose="02020603050405020304" pitchFamily="18" charset="0"/>
              </a:rPr>
              <a:t>13,44 % акцизного податку з пального</a:t>
            </a:r>
            <a:endParaRPr lang="en-US" sz="1200" b="1" dirty="0"/>
          </a:p>
        </p:txBody>
      </p:sp>
      <p:sp>
        <p:nvSpPr>
          <p:cNvPr id="75" name="TextBox 74"/>
          <p:cNvSpPr txBox="1"/>
          <p:nvPr/>
        </p:nvSpPr>
        <p:spPr>
          <a:xfrm>
            <a:off x="3988775" y="4982418"/>
            <a:ext cx="2766984" cy="907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1400" b="1" dirty="0"/>
              <a:t>Субвенція</a:t>
            </a:r>
            <a:r>
              <a:rPr lang="en-US" sz="1400" b="1" dirty="0"/>
              <a:t> </a:t>
            </a:r>
            <a:r>
              <a:rPr lang="uk-UA" sz="1400" b="1" dirty="0"/>
              <a:t>з ДБ</a:t>
            </a:r>
            <a:r>
              <a:rPr lang="en-US" sz="1400" b="1" dirty="0"/>
              <a:t> </a:t>
            </a:r>
            <a:r>
              <a:rPr lang="ru-RU" sz="1400" b="1" dirty="0"/>
              <a:t>на </a:t>
            </a:r>
            <a:r>
              <a:rPr lang="ru-RU" sz="1400" b="1" dirty="0" err="1"/>
              <a:t>допомогу</a:t>
            </a:r>
            <a:r>
              <a:rPr lang="ru-RU" sz="1400" b="1" dirty="0"/>
              <a:t> громадам, </a:t>
            </a:r>
            <a:r>
              <a:rPr lang="ru-RU" sz="1400" dirty="0"/>
              <a:t>у </a:t>
            </a:r>
            <a:r>
              <a:rPr lang="ru-RU" sz="1400" dirty="0" err="1"/>
              <a:t>яких</a:t>
            </a:r>
            <a:r>
              <a:rPr lang="ru-RU" sz="1400" dirty="0"/>
              <a:t> </a:t>
            </a:r>
            <a:r>
              <a:rPr lang="ru-RU" sz="1400" dirty="0" err="1"/>
              <a:t>індекс</a:t>
            </a:r>
            <a:r>
              <a:rPr lang="ru-RU" sz="1400" dirty="0"/>
              <a:t> </a:t>
            </a:r>
            <a:r>
              <a:rPr lang="ru-RU" sz="1400" dirty="0" err="1"/>
              <a:t>податкоспроможності</a:t>
            </a:r>
            <a:r>
              <a:rPr lang="ru-RU" sz="1400" dirty="0"/>
              <a:t> </a:t>
            </a:r>
          </a:p>
          <a:p>
            <a:pPr algn="ctr">
              <a:lnSpc>
                <a:spcPct val="75000"/>
              </a:lnSpc>
            </a:pPr>
            <a:r>
              <a:rPr lang="ru-RU" sz="1400" dirty="0" err="1"/>
              <a:t>менше</a:t>
            </a:r>
            <a:r>
              <a:rPr lang="ru-RU" sz="1400" dirty="0"/>
              <a:t> </a:t>
            </a:r>
            <a:r>
              <a:rPr lang="ru-RU" sz="1400" b="1" dirty="0"/>
              <a:t>0,9</a:t>
            </a:r>
          </a:p>
          <a:p>
            <a:pPr algn="ctr">
              <a:lnSpc>
                <a:spcPct val="75000"/>
              </a:lnSpc>
            </a:pPr>
            <a:endParaRPr lang="en-US" sz="1400" b="1" dirty="0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82ACE635-76A8-4341-AC35-7911E06CA628}"/>
              </a:ext>
            </a:extLst>
          </p:cNvPr>
          <p:cNvSpPr txBox="1"/>
          <p:nvPr/>
        </p:nvSpPr>
        <p:spPr>
          <a:xfrm>
            <a:off x="162833" y="3721676"/>
            <a:ext cx="1497158" cy="1138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1500" b="1" dirty="0"/>
              <a:t>Субвенція на погашення боргів попередніх років за енергоресурси</a:t>
            </a:r>
            <a:endParaRPr lang="en-US" sz="1500" b="1" dirty="0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074C369D-2A50-4DAD-BDFA-385F5FD393D7}"/>
              </a:ext>
            </a:extLst>
          </p:cNvPr>
          <p:cNvSpPr txBox="1"/>
          <p:nvPr/>
        </p:nvSpPr>
        <p:spPr>
          <a:xfrm>
            <a:off x="93082" y="2575456"/>
            <a:ext cx="5678544" cy="7848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75000"/>
              </a:lnSpc>
            </a:pPr>
            <a:r>
              <a:rPr lang="uk-UA" sz="1500" b="1" dirty="0"/>
              <a:t> </a:t>
            </a:r>
            <a:r>
              <a:rPr lang="ru-RU" b="1" dirty="0" smtClean="0"/>
              <a:t>Ц</a:t>
            </a:r>
            <a:r>
              <a:rPr lang="uk-UA" b="1" dirty="0" err="1" smtClean="0"/>
              <a:t>іна</a:t>
            </a:r>
            <a:r>
              <a:rPr lang="uk-UA" b="1" dirty="0" smtClean="0"/>
              <a:t> </a:t>
            </a:r>
            <a:r>
              <a:rPr lang="uk-UA" b="1" dirty="0"/>
              <a:t>газу – 7,42 грн за 1 </a:t>
            </a:r>
            <a:r>
              <a:rPr lang="uk-UA" b="1" dirty="0" smtClean="0"/>
              <a:t>м</a:t>
            </a:r>
            <a:r>
              <a:rPr lang="uk-UA" b="1" baseline="30000" dirty="0" smtClean="0"/>
              <a:t>3 </a:t>
            </a:r>
            <a:r>
              <a:rPr lang="uk-UA" b="1" dirty="0" smtClean="0">
                <a:solidFill>
                  <a:srgbClr val="FF0000"/>
                </a:solidFill>
              </a:rPr>
              <a:t>(населення)</a:t>
            </a:r>
            <a:endParaRPr lang="uk-UA" b="1" dirty="0">
              <a:solidFill>
                <a:srgbClr val="FF0000"/>
              </a:solidFill>
            </a:endParaRPr>
          </a:p>
          <a:p>
            <a:pPr>
              <a:lnSpc>
                <a:spcPct val="75000"/>
              </a:lnSpc>
            </a:pPr>
            <a:r>
              <a:rPr lang="uk-UA" b="1" baseline="30000" dirty="0"/>
              <a:t>	 </a:t>
            </a:r>
            <a:r>
              <a:rPr lang="uk-UA" b="1" dirty="0" smtClean="0"/>
              <a:t>     16,39 грн </a:t>
            </a:r>
            <a:r>
              <a:rPr lang="uk-UA" b="1" dirty="0"/>
              <a:t>за 1 </a:t>
            </a:r>
            <a:r>
              <a:rPr lang="uk-UA" b="1" dirty="0" smtClean="0"/>
              <a:t>м</a:t>
            </a:r>
            <a:r>
              <a:rPr lang="uk-UA" b="1" baseline="30000" dirty="0" smtClean="0"/>
              <a:t>3 </a:t>
            </a:r>
            <a:r>
              <a:rPr lang="uk-UA" b="1" dirty="0" smtClean="0">
                <a:solidFill>
                  <a:srgbClr val="FF0000"/>
                </a:solidFill>
              </a:rPr>
              <a:t>(бюджетні установи)</a:t>
            </a:r>
            <a:endParaRPr lang="uk-UA" b="1" dirty="0">
              <a:solidFill>
                <a:srgbClr val="FF0000"/>
              </a:solidFill>
            </a:endParaRPr>
          </a:p>
          <a:p>
            <a:pPr>
              <a:lnSpc>
                <a:spcPct val="75000"/>
              </a:lnSpc>
            </a:pPr>
            <a:endParaRPr lang="uk-UA" b="1" baseline="30000" dirty="0"/>
          </a:p>
          <a:p>
            <a:pPr>
              <a:lnSpc>
                <a:spcPct val="75000"/>
              </a:lnSpc>
            </a:pPr>
            <a:endParaRPr lang="en-US" b="1" baseline="30000" dirty="0"/>
          </a:p>
        </p:txBody>
      </p:sp>
      <p:sp>
        <p:nvSpPr>
          <p:cNvPr id="34" name="Прямокутник 33"/>
          <p:cNvSpPr/>
          <p:nvPr/>
        </p:nvSpPr>
        <p:spPr>
          <a:xfrm>
            <a:off x="9714455" y="4187753"/>
            <a:ext cx="946800" cy="8246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1" name="TextBox 70"/>
          <p:cNvSpPr txBox="1"/>
          <p:nvPr/>
        </p:nvSpPr>
        <p:spPr>
          <a:xfrm>
            <a:off x="9584987" y="4290966"/>
            <a:ext cx="1178052" cy="393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2500" b="1" dirty="0"/>
              <a:t>9,2</a:t>
            </a:r>
            <a:endParaRPr lang="en-US" sz="25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0831372" y="5018569"/>
            <a:ext cx="984708" cy="4210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1400" b="1" dirty="0" smtClean="0">
                <a:latin typeface="Antiqua"/>
                <a:cs typeface="Times New Roman" panose="02020603050405020304" pitchFamily="18" charset="0"/>
              </a:rPr>
              <a:t>місцеві бюджети</a:t>
            </a:r>
            <a:endParaRPr lang="en-US" sz="14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2784901" y="3777171"/>
            <a:ext cx="1178052" cy="513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uk-UA" sz="3500" b="1" dirty="0" smtClean="0"/>
              <a:t>12</a:t>
            </a:r>
            <a:endParaRPr lang="en-US" sz="3500" b="1" dirty="0"/>
          </a:p>
        </p:txBody>
      </p:sp>
    </p:spTree>
    <p:extLst>
      <p:ext uri="{BB962C8B-B14F-4D97-AF65-F5344CB8AC3E}">
        <p14:creationId xmlns:p14="http://schemas.microsoft.com/office/powerpoint/2010/main" val="365637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w7PQmqZkuQNGiS14XL4Q"/>
</p:tagLst>
</file>

<file path=ppt/theme/theme1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